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BE8149-B179-4814-8D9E-0FE5AB2CE44E}" v="54" dt="2023-03-07T23:40:33.2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8BE8149-B179-4814-8D9E-0FE5AB2CE44E}"/>
    <pc:docChg chg="addSld delSld modSld">
      <pc:chgData name="Roberto Gallardo" userId="49a044883f185952" providerId="LiveId" clId="{18BE8149-B179-4814-8D9E-0FE5AB2CE44E}" dt="2023-03-07T23:40:44.564" v="258" actId="1076"/>
      <pc:docMkLst>
        <pc:docMk/>
      </pc:docMkLst>
      <pc:sldChg chg="del">
        <pc:chgData name="Roberto Gallardo" userId="49a044883f185952" providerId="LiveId" clId="{18BE8149-B179-4814-8D9E-0FE5AB2CE44E}" dt="2023-02-25T15:11:57.488" v="67" actId="47"/>
        <pc:sldMkLst>
          <pc:docMk/>
          <pc:sldMk cId="1175010214" sldId="261"/>
        </pc:sldMkLst>
      </pc:sldChg>
      <pc:sldChg chg="addSp modSp mod">
        <pc:chgData name="Roberto Gallardo" userId="49a044883f185952" providerId="LiveId" clId="{18BE8149-B179-4814-8D9E-0FE5AB2CE44E}" dt="2023-03-07T23:35:42.823" v="74" actId="1076"/>
        <pc:sldMkLst>
          <pc:docMk/>
          <pc:sldMk cId="1418533539" sldId="271"/>
        </pc:sldMkLst>
        <pc:picChg chg="add mod">
          <ac:chgData name="Roberto Gallardo" userId="49a044883f185952" providerId="LiveId" clId="{18BE8149-B179-4814-8D9E-0FE5AB2CE44E}" dt="2023-03-07T23:35:42.823" v="74" actId="1076"/>
          <ac:picMkLst>
            <pc:docMk/>
            <pc:sldMk cId="1418533539" sldId="271"/>
            <ac:picMk id="6" creationId="{16D21D98-F44A-F31C-B318-3F4D6C75CF29}"/>
          </ac:picMkLst>
        </pc:picChg>
      </pc:sldChg>
      <pc:sldChg chg="addSp modSp mod">
        <pc:chgData name="Roberto Gallardo" userId="49a044883f185952" providerId="LiveId" clId="{18BE8149-B179-4814-8D9E-0FE5AB2CE44E}" dt="2023-03-07T23:37:30.859" v="131" actId="1076"/>
        <pc:sldMkLst>
          <pc:docMk/>
          <pc:sldMk cId="2124848710" sldId="281"/>
        </pc:sldMkLst>
        <pc:picChg chg="add mod">
          <ac:chgData name="Roberto Gallardo" userId="49a044883f185952" providerId="LiveId" clId="{18BE8149-B179-4814-8D9E-0FE5AB2CE44E}" dt="2023-03-07T23:37:30.859" v="131" actId="1076"/>
          <ac:picMkLst>
            <pc:docMk/>
            <pc:sldMk cId="2124848710" sldId="281"/>
            <ac:picMk id="6" creationId="{E0055411-1781-93B5-40B8-65E227B29D87}"/>
          </ac:picMkLst>
        </pc:picChg>
      </pc:sldChg>
      <pc:sldChg chg="addSp modSp mod">
        <pc:chgData name="Roberto Gallardo" userId="49a044883f185952" providerId="LiveId" clId="{18BE8149-B179-4814-8D9E-0FE5AB2CE44E}" dt="2023-03-07T23:37:44.685" v="140" actId="1076"/>
        <pc:sldMkLst>
          <pc:docMk/>
          <pc:sldMk cId="2028175529" sldId="282"/>
        </pc:sldMkLst>
        <pc:picChg chg="add mod">
          <ac:chgData name="Roberto Gallardo" userId="49a044883f185952" providerId="LiveId" clId="{18BE8149-B179-4814-8D9E-0FE5AB2CE44E}" dt="2023-03-07T23:37:44.685" v="140" actId="1076"/>
          <ac:picMkLst>
            <pc:docMk/>
            <pc:sldMk cId="2028175529" sldId="282"/>
            <ac:picMk id="7" creationId="{7E194775-4582-DAA3-AAF4-774F2B7D1924}"/>
          </ac:picMkLst>
        </pc:picChg>
      </pc:sldChg>
      <pc:sldChg chg="addSp modSp mod">
        <pc:chgData name="Roberto Gallardo" userId="49a044883f185952" providerId="LiveId" clId="{18BE8149-B179-4814-8D9E-0FE5AB2CE44E}" dt="2023-03-07T23:38:03.716" v="153" actId="1076"/>
        <pc:sldMkLst>
          <pc:docMk/>
          <pc:sldMk cId="1326517747" sldId="283"/>
        </pc:sldMkLst>
        <pc:picChg chg="add mod">
          <ac:chgData name="Roberto Gallardo" userId="49a044883f185952" providerId="LiveId" clId="{18BE8149-B179-4814-8D9E-0FE5AB2CE44E}" dt="2023-03-07T23:38:03.716" v="153" actId="1076"/>
          <ac:picMkLst>
            <pc:docMk/>
            <pc:sldMk cId="1326517747" sldId="283"/>
            <ac:picMk id="7" creationId="{C7916D3D-B10C-DB9E-FD71-EF385F74F2EF}"/>
          </ac:picMkLst>
        </pc:picChg>
      </pc:sldChg>
      <pc:sldChg chg="addSp modSp mod">
        <pc:chgData name="Roberto Gallardo" userId="49a044883f185952" providerId="LiveId" clId="{18BE8149-B179-4814-8D9E-0FE5AB2CE44E}" dt="2023-03-07T23:38:20.411" v="165" actId="1076"/>
        <pc:sldMkLst>
          <pc:docMk/>
          <pc:sldMk cId="783739251" sldId="284"/>
        </pc:sldMkLst>
        <pc:picChg chg="add mod">
          <ac:chgData name="Roberto Gallardo" userId="49a044883f185952" providerId="LiveId" clId="{18BE8149-B179-4814-8D9E-0FE5AB2CE44E}" dt="2023-03-07T23:38:20.411" v="165" actId="1076"/>
          <ac:picMkLst>
            <pc:docMk/>
            <pc:sldMk cId="783739251" sldId="284"/>
            <ac:picMk id="7" creationId="{6A268D1E-63A5-9575-6A7B-794077075AB1}"/>
          </ac:picMkLst>
        </pc:picChg>
      </pc:sldChg>
      <pc:sldChg chg="addSp modSp mod">
        <pc:chgData name="Roberto Gallardo" userId="49a044883f185952" providerId="LiveId" clId="{18BE8149-B179-4814-8D9E-0FE5AB2CE44E}" dt="2023-03-07T23:38:40.171" v="176" actId="1076"/>
        <pc:sldMkLst>
          <pc:docMk/>
          <pc:sldMk cId="1676122233" sldId="285"/>
        </pc:sldMkLst>
        <pc:picChg chg="add mod">
          <ac:chgData name="Roberto Gallardo" userId="49a044883f185952" providerId="LiveId" clId="{18BE8149-B179-4814-8D9E-0FE5AB2CE44E}" dt="2023-03-07T23:38:40.171" v="176" actId="1076"/>
          <ac:picMkLst>
            <pc:docMk/>
            <pc:sldMk cId="1676122233" sldId="285"/>
            <ac:picMk id="7" creationId="{F8823065-30DB-35DB-4E50-2472E013BC4A}"/>
          </ac:picMkLst>
        </pc:picChg>
      </pc:sldChg>
      <pc:sldChg chg="addSp modSp mod">
        <pc:chgData name="Roberto Gallardo" userId="49a044883f185952" providerId="LiveId" clId="{18BE8149-B179-4814-8D9E-0FE5AB2CE44E}" dt="2023-03-07T23:38:51.985" v="183" actId="14100"/>
        <pc:sldMkLst>
          <pc:docMk/>
          <pc:sldMk cId="3100398757" sldId="286"/>
        </pc:sldMkLst>
        <pc:picChg chg="add mod">
          <ac:chgData name="Roberto Gallardo" userId="49a044883f185952" providerId="LiveId" clId="{18BE8149-B179-4814-8D9E-0FE5AB2CE44E}" dt="2023-03-07T23:38:51.985" v="183" actId="14100"/>
          <ac:picMkLst>
            <pc:docMk/>
            <pc:sldMk cId="3100398757" sldId="286"/>
            <ac:picMk id="7" creationId="{E474EE71-8EEF-0E4B-B440-998289A7C46C}"/>
          </ac:picMkLst>
        </pc:picChg>
      </pc:sldChg>
      <pc:sldChg chg="addSp modSp mod">
        <pc:chgData name="Roberto Gallardo" userId="49a044883f185952" providerId="LiveId" clId="{18BE8149-B179-4814-8D9E-0FE5AB2CE44E}" dt="2023-03-07T23:39:13.424" v="196" actId="1076"/>
        <pc:sldMkLst>
          <pc:docMk/>
          <pc:sldMk cId="1546475425" sldId="287"/>
        </pc:sldMkLst>
        <pc:picChg chg="add mod">
          <ac:chgData name="Roberto Gallardo" userId="49a044883f185952" providerId="LiveId" clId="{18BE8149-B179-4814-8D9E-0FE5AB2CE44E}" dt="2023-03-07T23:39:13.424" v="196" actId="1076"/>
          <ac:picMkLst>
            <pc:docMk/>
            <pc:sldMk cId="1546475425" sldId="287"/>
            <ac:picMk id="7" creationId="{013F4D31-6E16-7601-A910-DE56774368A0}"/>
          </ac:picMkLst>
        </pc:picChg>
      </pc:sldChg>
      <pc:sldChg chg="addSp modSp mod">
        <pc:chgData name="Roberto Gallardo" userId="49a044883f185952" providerId="LiveId" clId="{18BE8149-B179-4814-8D9E-0FE5AB2CE44E}" dt="2023-03-07T23:39:43.056" v="216" actId="1076"/>
        <pc:sldMkLst>
          <pc:docMk/>
          <pc:sldMk cId="1380517306" sldId="288"/>
        </pc:sldMkLst>
        <pc:picChg chg="add mod">
          <ac:chgData name="Roberto Gallardo" userId="49a044883f185952" providerId="LiveId" clId="{18BE8149-B179-4814-8D9E-0FE5AB2CE44E}" dt="2023-03-07T23:39:43.056" v="216" actId="1076"/>
          <ac:picMkLst>
            <pc:docMk/>
            <pc:sldMk cId="1380517306" sldId="288"/>
            <ac:picMk id="7" creationId="{34E32FB0-0B59-42F5-DA7E-5512C0244872}"/>
          </ac:picMkLst>
        </pc:picChg>
      </pc:sldChg>
      <pc:sldChg chg="addSp modSp mod">
        <pc:chgData name="Roberto Gallardo" userId="49a044883f185952" providerId="LiveId" clId="{18BE8149-B179-4814-8D9E-0FE5AB2CE44E}" dt="2023-03-07T23:39:59.424" v="228" actId="1076"/>
        <pc:sldMkLst>
          <pc:docMk/>
          <pc:sldMk cId="1388671151" sldId="289"/>
        </pc:sldMkLst>
        <pc:picChg chg="add mod">
          <ac:chgData name="Roberto Gallardo" userId="49a044883f185952" providerId="LiveId" clId="{18BE8149-B179-4814-8D9E-0FE5AB2CE44E}" dt="2023-03-07T23:39:59.424" v="228" actId="1076"/>
          <ac:picMkLst>
            <pc:docMk/>
            <pc:sldMk cId="1388671151" sldId="289"/>
            <ac:picMk id="7" creationId="{1F101491-988D-6592-5368-5989AE759B1F}"/>
          </ac:picMkLst>
        </pc:picChg>
      </pc:sldChg>
      <pc:sldChg chg="addSp modSp mod">
        <pc:chgData name="Roberto Gallardo" userId="49a044883f185952" providerId="LiveId" clId="{18BE8149-B179-4814-8D9E-0FE5AB2CE44E}" dt="2023-03-07T23:40:25.520" v="246" actId="1076"/>
        <pc:sldMkLst>
          <pc:docMk/>
          <pc:sldMk cId="2355376039" sldId="290"/>
        </pc:sldMkLst>
        <pc:picChg chg="add mod">
          <ac:chgData name="Roberto Gallardo" userId="49a044883f185952" providerId="LiveId" clId="{18BE8149-B179-4814-8D9E-0FE5AB2CE44E}" dt="2023-03-07T23:40:25.520" v="246" actId="1076"/>
          <ac:picMkLst>
            <pc:docMk/>
            <pc:sldMk cId="2355376039" sldId="290"/>
            <ac:picMk id="8" creationId="{5050711C-50F5-728B-4525-C79C23271431}"/>
          </ac:picMkLst>
        </pc:picChg>
      </pc:sldChg>
      <pc:sldChg chg="addSp modSp mod">
        <pc:chgData name="Roberto Gallardo" userId="49a044883f185952" providerId="LiveId" clId="{18BE8149-B179-4814-8D9E-0FE5AB2CE44E}" dt="2023-03-07T23:40:44.564" v="258" actId="1076"/>
        <pc:sldMkLst>
          <pc:docMk/>
          <pc:sldMk cId="3757257295" sldId="291"/>
        </pc:sldMkLst>
        <pc:picChg chg="add mod">
          <ac:chgData name="Roberto Gallardo" userId="49a044883f185952" providerId="LiveId" clId="{18BE8149-B179-4814-8D9E-0FE5AB2CE44E}" dt="2023-03-07T23:40:44.564" v="258" actId="1076"/>
          <ac:picMkLst>
            <pc:docMk/>
            <pc:sldMk cId="3757257295" sldId="291"/>
            <ac:picMk id="8" creationId="{2955FBB2-3696-96AD-A406-A0F2EE5A8B44}"/>
          </ac:picMkLst>
        </pc:picChg>
      </pc:sldChg>
      <pc:sldChg chg="addSp modSp mod">
        <pc:chgData name="Roberto Gallardo" userId="49a044883f185952" providerId="LiveId" clId="{18BE8149-B179-4814-8D9E-0FE5AB2CE44E}" dt="2023-03-07T23:39:28.208" v="206" actId="1076"/>
        <pc:sldMkLst>
          <pc:docMk/>
          <pc:sldMk cId="1259856727" sldId="292"/>
        </pc:sldMkLst>
        <pc:picChg chg="add mod">
          <ac:chgData name="Roberto Gallardo" userId="49a044883f185952" providerId="LiveId" clId="{18BE8149-B179-4814-8D9E-0FE5AB2CE44E}" dt="2023-03-07T23:39:28.208" v="206" actId="1076"/>
          <ac:picMkLst>
            <pc:docMk/>
            <pc:sldMk cId="1259856727" sldId="292"/>
            <ac:picMk id="7" creationId="{564A711B-EAE7-3661-5913-47266980C737}"/>
          </ac:picMkLst>
        </pc:picChg>
      </pc:sldChg>
      <pc:sldChg chg="addSp modSp mod">
        <pc:chgData name="Roberto Gallardo" userId="49a044883f185952" providerId="LiveId" clId="{18BE8149-B179-4814-8D9E-0FE5AB2CE44E}" dt="2023-03-07T23:37:11.408" v="122" actId="1076"/>
        <pc:sldMkLst>
          <pc:docMk/>
          <pc:sldMk cId="3324519687" sldId="293"/>
        </pc:sldMkLst>
        <pc:picChg chg="add mod">
          <ac:chgData name="Roberto Gallardo" userId="49a044883f185952" providerId="LiveId" clId="{18BE8149-B179-4814-8D9E-0FE5AB2CE44E}" dt="2023-03-07T23:37:11.408" v="122" actId="1076"/>
          <ac:picMkLst>
            <pc:docMk/>
            <pc:sldMk cId="3324519687" sldId="293"/>
            <ac:picMk id="7" creationId="{E567E92D-0216-D52C-D372-E0FCE7709138}"/>
          </ac:picMkLst>
        </pc:picChg>
      </pc:sldChg>
      <pc:sldChg chg="addSp modSp mod">
        <pc:chgData name="Roberto Gallardo" userId="49a044883f185952" providerId="LiveId" clId="{18BE8149-B179-4814-8D9E-0FE5AB2CE44E}" dt="2023-03-07T23:36:37.360" v="102" actId="1076"/>
        <pc:sldMkLst>
          <pc:docMk/>
          <pc:sldMk cId="3256182630" sldId="295"/>
        </pc:sldMkLst>
        <pc:picChg chg="add mod">
          <ac:chgData name="Roberto Gallardo" userId="49a044883f185952" providerId="LiveId" clId="{18BE8149-B179-4814-8D9E-0FE5AB2CE44E}" dt="2023-03-07T23:36:37.360" v="102" actId="1076"/>
          <ac:picMkLst>
            <pc:docMk/>
            <pc:sldMk cId="3256182630" sldId="295"/>
            <ac:picMk id="7" creationId="{47A39954-09EC-1A6E-3186-E4DC55D18FA9}"/>
          </ac:picMkLst>
        </pc:picChg>
      </pc:sldChg>
      <pc:sldChg chg="addSp modSp mod">
        <pc:chgData name="Roberto Gallardo" userId="49a044883f185952" providerId="LiveId" clId="{18BE8149-B179-4814-8D9E-0FE5AB2CE44E}" dt="2023-03-07T23:36:55.888" v="113" actId="1076"/>
        <pc:sldMkLst>
          <pc:docMk/>
          <pc:sldMk cId="4057156843" sldId="296"/>
        </pc:sldMkLst>
        <pc:picChg chg="add mod">
          <ac:chgData name="Roberto Gallardo" userId="49a044883f185952" providerId="LiveId" clId="{18BE8149-B179-4814-8D9E-0FE5AB2CE44E}" dt="2023-03-07T23:36:55.888" v="113" actId="1076"/>
          <ac:picMkLst>
            <pc:docMk/>
            <pc:sldMk cId="4057156843" sldId="296"/>
            <ac:picMk id="7" creationId="{C76038F6-0231-3E27-A2B0-B6C860F84707}"/>
          </ac:picMkLst>
        </pc:picChg>
      </pc:sldChg>
      <pc:sldChg chg="addSp modSp mod">
        <pc:chgData name="Roberto Gallardo" userId="49a044883f185952" providerId="LiveId" clId="{18BE8149-B179-4814-8D9E-0FE5AB2CE44E}" dt="2023-03-07T23:36:13.800" v="89" actId="1076"/>
        <pc:sldMkLst>
          <pc:docMk/>
          <pc:sldMk cId="2080110827" sldId="297"/>
        </pc:sldMkLst>
        <pc:picChg chg="add mod">
          <ac:chgData name="Roberto Gallardo" userId="49a044883f185952" providerId="LiveId" clId="{18BE8149-B179-4814-8D9E-0FE5AB2CE44E}" dt="2023-03-07T23:36:13.800" v="89" actId="1076"/>
          <ac:picMkLst>
            <pc:docMk/>
            <pc:sldMk cId="2080110827" sldId="297"/>
            <ac:picMk id="6" creationId="{C7206C7F-A7F5-0C1F-1024-BAF2F6DBFF9A}"/>
          </ac:picMkLst>
        </pc:picChg>
      </pc:sldChg>
      <pc:sldChg chg="addSp modSp mod">
        <pc:chgData name="Roberto Gallardo" userId="49a044883f185952" providerId="LiveId" clId="{18BE8149-B179-4814-8D9E-0FE5AB2CE44E}" dt="2023-03-07T23:35:56.376" v="81" actId="1076"/>
        <pc:sldMkLst>
          <pc:docMk/>
          <pc:sldMk cId="1532666867" sldId="298"/>
        </pc:sldMkLst>
        <pc:picChg chg="add mod">
          <ac:chgData name="Roberto Gallardo" userId="49a044883f185952" providerId="LiveId" clId="{18BE8149-B179-4814-8D9E-0FE5AB2CE44E}" dt="2023-03-07T23:35:56.376" v="81" actId="1076"/>
          <ac:picMkLst>
            <pc:docMk/>
            <pc:sldMk cId="1532666867" sldId="298"/>
            <ac:picMk id="6" creationId="{072227EB-9EDD-53CC-5A04-291430683B03}"/>
          </ac:picMkLst>
        </pc:picChg>
      </pc:sldChg>
      <pc:sldChg chg="addSp modSp mod">
        <pc:chgData name="Roberto Gallardo" userId="49a044883f185952" providerId="LiveId" clId="{18BE8149-B179-4814-8D9E-0FE5AB2CE44E}" dt="2023-03-07T23:40:11.415" v="237" actId="1076"/>
        <pc:sldMkLst>
          <pc:docMk/>
          <pc:sldMk cId="1951376777" sldId="299"/>
        </pc:sldMkLst>
        <pc:picChg chg="add mod">
          <ac:chgData name="Roberto Gallardo" userId="49a044883f185952" providerId="LiveId" clId="{18BE8149-B179-4814-8D9E-0FE5AB2CE44E}" dt="2023-03-07T23:40:11.415" v="237" actId="1076"/>
          <ac:picMkLst>
            <pc:docMk/>
            <pc:sldMk cId="1951376777" sldId="299"/>
            <ac:picMk id="7" creationId="{D85729C2-6A3D-236E-D4DA-242F3F27E702}"/>
          </ac:picMkLst>
        </pc:picChg>
      </pc:sldChg>
      <pc:sldChg chg="del">
        <pc:chgData name="Roberto Gallardo" userId="49a044883f185952" providerId="LiveId" clId="{18BE8149-B179-4814-8D9E-0FE5AB2CE44E}" dt="2023-02-25T15:11:57.488" v="67" actId="47"/>
        <pc:sldMkLst>
          <pc:docMk/>
          <pc:sldMk cId="2841628872" sldId="303"/>
        </pc:sldMkLst>
      </pc:sldChg>
      <pc:sldChg chg="del">
        <pc:chgData name="Roberto Gallardo" userId="49a044883f185952" providerId="LiveId" clId="{18BE8149-B179-4814-8D9E-0FE5AB2CE44E}" dt="2023-02-25T15:11:57.488" v="67" actId="47"/>
        <pc:sldMkLst>
          <pc:docMk/>
          <pc:sldMk cId="3084076302" sldId="304"/>
        </pc:sldMkLst>
      </pc:sldChg>
      <pc:sldChg chg="del">
        <pc:chgData name="Roberto Gallardo" userId="49a044883f185952" providerId="LiveId" clId="{18BE8149-B179-4814-8D9E-0FE5AB2CE44E}" dt="2023-02-25T15:11:57.488" v="67" actId="47"/>
        <pc:sldMkLst>
          <pc:docMk/>
          <pc:sldMk cId="473712435" sldId="305"/>
        </pc:sldMkLst>
      </pc:sldChg>
      <pc:sldChg chg="modSp mod">
        <pc:chgData name="Roberto Gallardo" userId="49a044883f185952" providerId="LiveId" clId="{18BE8149-B179-4814-8D9E-0FE5AB2CE44E}" dt="2023-02-25T13:34:42.266" v="65" actId="14100"/>
        <pc:sldMkLst>
          <pc:docMk/>
          <pc:sldMk cId="2366022307" sldId="306"/>
        </pc:sldMkLst>
        <pc:spChg chg="mod">
          <ac:chgData name="Roberto Gallardo" userId="49a044883f185952" providerId="LiveId" clId="{18BE8149-B179-4814-8D9E-0FE5AB2CE44E}" dt="2023-02-25T13:34:29.373" v="40" actId="1035"/>
          <ac:spMkLst>
            <pc:docMk/>
            <pc:sldMk cId="2366022307" sldId="306"/>
            <ac:spMk id="11" creationId="{09F5AE19-B4E3-7788-F25F-CDA80D596DAF}"/>
          </ac:spMkLst>
        </pc:spChg>
        <pc:grpChg chg="mod">
          <ac:chgData name="Roberto Gallardo" userId="49a044883f185952" providerId="LiveId" clId="{18BE8149-B179-4814-8D9E-0FE5AB2CE44E}" dt="2023-02-25T13:34:23.246" v="24" actId="1036"/>
          <ac:grpSpMkLst>
            <pc:docMk/>
            <pc:sldMk cId="2366022307" sldId="306"/>
            <ac:grpSpMk id="6" creationId="{4BC0EAD3-A621-359E-F822-1BC272A15D80}"/>
          </ac:grpSpMkLst>
        </pc:grpChg>
        <pc:cxnChg chg="mod">
          <ac:chgData name="Roberto Gallardo" userId="49a044883f185952" providerId="LiveId" clId="{18BE8149-B179-4814-8D9E-0FE5AB2CE44E}" dt="2023-02-25T13:34:34.485" v="63" actId="1035"/>
          <ac:cxnSpMkLst>
            <pc:docMk/>
            <pc:sldMk cId="2366022307" sldId="306"/>
            <ac:cxnSpMk id="27" creationId="{F0CF8142-8895-D0A8-A662-E40568742508}"/>
          </ac:cxnSpMkLst>
        </pc:cxnChg>
        <pc:cxnChg chg="mod">
          <ac:chgData name="Roberto Gallardo" userId="49a044883f185952" providerId="LiveId" clId="{18BE8149-B179-4814-8D9E-0FE5AB2CE44E}" dt="2023-02-25T13:34:38.939" v="64" actId="14100"/>
          <ac:cxnSpMkLst>
            <pc:docMk/>
            <pc:sldMk cId="2366022307" sldId="306"/>
            <ac:cxnSpMk id="28" creationId="{15C28C80-F0E1-159F-F103-CEA53436F6F9}"/>
          </ac:cxnSpMkLst>
        </pc:cxnChg>
        <pc:cxnChg chg="mod">
          <ac:chgData name="Roberto Gallardo" userId="49a044883f185952" providerId="LiveId" clId="{18BE8149-B179-4814-8D9E-0FE5AB2CE44E}" dt="2023-02-25T13:34:42.266" v="65" actId="14100"/>
          <ac:cxnSpMkLst>
            <pc:docMk/>
            <pc:sldMk cId="2366022307" sldId="306"/>
            <ac:cxnSpMk id="29" creationId="{783CFD35-8D28-EF95-B783-8C1E52BEC855}"/>
          </ac:cxnSpMkLst>
        </pc:cxnChg>
      </pc:sldChg>
      <pc:sldChg chg="add">
        <pc:chgData name="Roberto Gallardo" userId="49a044883f185952" providerId="LiveId" clId="{18BE8149-B179-4814-8D9E-0FE5AB2CE44E}" dt="2023-02-25T15:11:54.290" v="66"/>
        <pc:sldMkLst>
          <pc:docMk/>
          <pc:sldMk cId="527060694" sldId="307"/>
        </pc:sldMkLst>
      </pc:sldChg>
      <pc:sldChg chg="add">
        <pc:chgData name="Roberto Gallardo" userId="49a044883f185952" providerId="LiveId" clId="{18BE8149-B179-4814-8D9E-0FE5AB2CE44E}" dt="2023-02-25T15:11:54.290" v="66"/>
        <pc:sldMkLst>
          <pc:docMk/>
          <pc:sldMk cId="3810278244" sldId="308"/>
        </pc:sldMkLst>
      </pc:sldChg>
      <pc:sldChg chg="add">
        <pc:chgData name="Roberto Gallardo" userId="49a044883f185952" providerId="LiveId" clId="{18BE8149-B179-4814-8D9E-0FE5AB2CE44E}" dt="2023-02-25T15:11:54.290" v="66"/>
        <pc:sldMkLst>
          <pc:docMk/>
          <pc:sldMk cId="626250868" sldId="309"/>
        </pc:sldMkLst>
      </pc:sldChg>
      <pc:sldChg chg="add">
        <pc:chgData name="Roberto Gallardo" userId="49a044883f185952" providerId="LiveId" clId="{18BE8149-B179-4814-8D9E-0FE5AB2CE44E}" dt="2023-02-25T15:11:54.290" v="66"/>
        <pc:sldMkLst>
          <pc:docMk/>
          <pc:sldMk cId="3836319864"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a:solidFill>
                  <a:schemeClr val="bg1"/>
                </a:solidFill>
              </a:rPr>
              <a:t>Yancey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964DECD-4DEE-2DA2-7CB9-4DF3216452C4}"/>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626250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04BE2AAB-0BAF-3043-5C56-D8F257FF3A3B}"/>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8363198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16D21D98-F44A-F31C-B318-3F4D6C75CF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32" y="1026027"/>
            <a:ext cx="7600535" cy="5374773"/>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072227EB-9EDD-53CC-5A04-291430683B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7206C7F-A7F5-0C1F-1024-BAF2F6DBFF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FAF69F8-19C9-97CF-02BB-4185CB81BF92}"/>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47A39954-09EC-1A6E-3186-E4DC55D18F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39813CA-E382-372F-38AC-228E9A8D133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C76038F6-0231-3E27-A2B0-B6C860F847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363F8C1C-1794-C523-D412-785433F19ACB}"/>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E567E92D-0216-D52C-D372-E0FCE77091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AE00C6A-3581-01C0-7C15-303E62CACF21}"/>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E0055411-1781-93B5-40B8-65E227B29D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8"/>
            <a:ext cx="6403975" cy="452861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54F45C7E-0442-CC16-1CEC-E25080493F67}"/>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E194775-4582-DAA3-AAF4-774F2B7D19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0"/>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8D687CB4-0705-9D9D-1AE5-BD3EA9A1779B}"/>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C7916D3D-B10C-DB9E-FD71-EF385F74F2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1631"/>
            <a:ext cx="6400799"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2D14518-C750-CE01-7E02-4C2233E2B600}"/>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A268D1E-63A5-9575-6A7B-794077075A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6"/>
            <a:ext cx="6400801" cy="452637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FC6C97C6-ED4A-55ED-5103-1BE8AC73BD74}"/>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8823065-30DB-35DB-4E50-2472E013BC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0" y="1408700"/>
            <a:ext cx="6400801" cy="4526373"/>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73448C51-DA12-2037-CEAE-FCDA981FCEFE}"/>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474EE71-8EEF-0E4B-B440-998289A7C4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91102"/>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0B6471BD-E842-B5B3-CE00-348E0FC67F2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13F4D31-6E16-7601-A910-DE56774368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92A4F7A1-D2F2-9308-9F37-B496A580FDC4}"/>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64A711B-EAE7-3661-5913-47266980C7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5117"/>
            <a:ext cx="6405480" cy="452968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115AAFC4-FA8D-8867-6DBA-9AA7AE0C7044}"/>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4E32FB0-0B59-42F5-DA7E-5512C02448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015E75F4-2ED7-881F-A95E-19DBFFC8F28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F101491-988D-6592-5368-5989AE759B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0F5EB754-0F84-1171-FF82-97F05A434B99}"/>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D85729C2-6A3D-236E-D4DA-242F3F27E7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9A590B43-1B60-C0CF-E4E6-56090B5F6788}"/>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5050711C-50F5-728B-4525-C79C232714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0B4AE0F-B5E3-F8D5-1B80-2C31858CB36D}"/>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AEEAAB22-2D74-474C-3F28-5A58CE373554}"/>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2955FBB2-3696-96AD-A406-A0F2EE5A8B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2"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17A1881A-72FA-30E5-F1B6-75F993906A8D}"/>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0C3A47B-0F1D-9A92-DD35-C539FB5FC6D3}"/>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B8BD0B2-83DD-9E88-93D7-D81C2E273AD5}"/>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775593"/>
            <a:ext cx="1198148" cy="1776363"/>
            <a:chOff x="10485745" y="3105237"/>
            <a:chExt cx="1198148" cy="17763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984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8.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1052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105237"/>
              <a:ext cx="0" cy="4932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91011"/>
              <a:ext cx="0" cy="3905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34089"/>
            <a:ext cx="1198148" cy="2267202"/>
            <a:chOff x="2775759" y="2224808"/>
            <a:chExt cx="1198148" cy="226720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2480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24808"/>
              <a:ext cx="0" cy="73619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3539DF1-24D8-084C-D86A-290F5FB18B23}"/>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C0E81999-7D33-6B48-3D67-E6C06A810E05}"/>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62C556F-662B-EA64-E8EF-DA02CA38DF2E}"/>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27A5EEDC-2BDA-00E2-23BF-5280E1637956}"/>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40F09EB3-0C05-FC82-554F-1DEC1BDDDC0E}"/>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9697E0FA-7FAF-7150-2842-C7976AB328FD}"/>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57C6BE6C-B2F9-2DE0-3A26-C73073FAF52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527060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4256E61-D503-F731-0D7C-6A2AB7C54BEA}"/>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810278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57</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04</cp:revision>
  <dcterms:created xsi:type="dcterms:W3CDTF">2022-07-04T13:32:28Z</dcterms:created>
  <dcterms:modified xsi:type="dcterms:W3CDTF">2023-03-07T23:40:45Z</dcterms:modified>
</cp:coreProperties>
</file>